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9AA73-EBEC-7C82-176B-E74FCF6EF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28CCBFAC-49FF-1724-00AF-D3F022FF45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CBFAC-49FF-1724-00AF-D3F022FF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21D83E-F6AC-6A2E-2579-315B5BB5F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7C546C-B990-6999-AAB6-FE7014B3F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43A3CFB-18FA-7D6B-79D9-D24DDCA92126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5FEB668-7A9B-9720-3E97-4E5933CD6734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7" name="Arc 6">
              <a:extLst>
                <a:ext uri="{FF2B5EF4-FFF2-40B4-BE49-F238E27FC236}">
                  <a16:creationId xmlns:a16="http://schemas.microsoft.com/office/drawing/2014/main" id="{99E4B3CB-8010-5760-1C3F-6667A557CE30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EF295AD-BA12-6499-6051-83512E327FE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E8A7D5E-337F-E0AB-F7D1-397658F94D67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E8DDB3A-4D49-3AB5-0CF7-4AA64B228295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4BAED82-4736-393D-3694-E0E2B6139CBF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B42D8CD-2A38-611E-B852-83408596CAF3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F9C082D-6B0C-8D4A-C48A-6B84BB42C462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5A60575-C321-9C45-6CED-8065C54FBF5E}"/>
              </a:ext>
            </a:extLst>
          </p:cNvPr>
          <p:cNvSpPr/>
          <p:nvPr/>
        </p:nvSpPr>
        <p:spPr>
          <a:xfrm flipH="1">
            <a:off x="9265041" y="4412575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E5DD5DC-46C2-BC98-FD41-CDBCADA1BA5D}"/>
              </a:ext>
            </a:extLst>
          </p:cNvPr>
          <p:cNvSpPr/>
          <p:nvPr/>
        </p:nvSpPr>
        <p:spPr>
          <a:xfrm>
            <a:off x="9887053" y="3775501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444BF03-6D93-3BBE-A23A-44F50A46CB04}"/>
              </a:ext>
            </a:extLst>
          </p:cNvPr>
          <p:cNvSpPr/>
          <p:nvPr/>
        </p:nvSpPr>
        <p:spPr>
          <a:xfrm rot="16200000" flipH="1">
            <a:off x="7809416" y="2851897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B112057-74C7-0D2A-7228-996847050F76}"/>
              </a:ext>
            </a:extLst>
          </p:cNvPr>
          <p:cNvSpPr/>
          <p:nvPr/>
        </p:nvSpPr>
        <p:spPr>
          <a:xfrm>
            <a:off x="7330254" y="1195548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6FA44AB-15CE-4227-BDC9-FD31C5ECAB4E}"/>
              </a:ext>
            </a:extLst>
          </p:cNvPr>
          <p:cNvSpPr/>
          <p:nvPr/>
        </p:nvSpPr>
        <p:spPr>
          <a:xfrm>
            <a:off x="6347377" y="4412577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5D449B5-3033-80FB-C8B2-B5BC6FF2E037}"/>
              </a:ext>
            </a:extLst>
          </p:cNvPr>
          <p:cNvSpPr/>
          <p:nvPr/>
        </p:nvSpPr>
        <p:spPr>
          <a:xfrm flipH="1">
            <a:off x="4833880" y="3775503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F757A0-6438-8E00-B883-61F8E8169F75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4161477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8</TotalTime>
  <Words>39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d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20</cp:revision>
  <dcterms:created xsi:type="dcterms:W3CDTF">2021-03-31T02:49:57Z</dcterms:created>
  <dcterms:modified xsi:type="dcterms:W3CDTF">2025-10-15T03:42:41Z</dcterms:modified>
  <cp:category/>
</cp:coreProperties>
</file>